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sldIdLst>
    <p:sldId id="256" r:id="rId2"/>
    <p:sldId id="315" r:id="rId3"/>
    <p:sldId id="420" r:id="rId4"/>
    <p:sldId id="421" r:id="rId5"/>
    <p:sldId id="422" r:id="rId6"/>
    <p:sldId id="423" r:id="rId7"/>
    <p:sldId id="424" r:id="rId8"/>
    <p:sldId id="426" r:id="rId9"/>
    <p:sldId id="425" r:id="rId10"/>
    <p:sldId id="427" r:id="rId11"/>
    <p:sldId id="428" r:id="rId12"/>
    <p:sldId id="429" r:id="rId13"/>
    <p:sldId id="430" r:id="rId14"/>
    <p:sldId id="431" r:id="rId15"/>
    <p:sldId id="432" r:id="rId16"/>
    <p:sldId id="433" r:id="rId17"/>
    <p:sldId id="434" r:id="rId18"/>
    <p:sldId id="435" r:id="rId19"/>
    <p:sldId id="436" r:id="rId20"/>
    <p:sldId id="437" r:id="rId21"/>
    <p:sldId id="438" r:id="rId22"/>
    <p:sldId id="439" r:id="rId23"/>
    <p:sldId id="440" r:id="rId24"/>
    <p:sldId id="441" r:id="rId25"/>
    <p:sldId id="443" r:id="rId26"/>
    <p:sldId id="444" r:id="rId27"/>
    <p:sldId id="445" r:id="rId28"/>
    <p:sldId id="446" r:id="rId29"/>
    <p:sldId id="447" r:id="rId30"/>
    <p:sldId id="448" r:id="rId31"/>
    <p:sldId id="449" r:id="rId32"/>
    <p:sldId id="450" r:id="rId33"/>
    <p:sldId id="451" r:id="rId34"/>
    <p:sldId id="261" r:id="rId35"/>
  </p:sldIdLst>
  <p:sldSz cx="12192000" cy="6858000"/>
  <p:notesSz cx="6858000" cy="9144000"/>
  <p:custDataLst>
    <p:tags r:id="rId3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60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9006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4" Type="http://schemas.openxmlformats.org/officeDocument/2006/relationships/image" Target="../media/image2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3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248" y="80486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SET 命令创立50条string类型的数据</a:t>
                      </a:r>
                      <a:r>
                        <a:rPr lang="zh-CN"/>
                        <a:t>：（篇幅所限创建两条为例）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endParaRPr lang="zh-CN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4075" y="3000375"/>
            <a:ext cx="4196080" cy="12674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3130" y="2966720"/>
            <a:ext cx="4714875" cy="277177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940" y="2943860"/>
            <a:ext cx="6231255" cy="271208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EXIST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从结果中不存在address这个key，但是name这个key存在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120" y="3304540"/>
            <a:ext cx="5603875" cy="18224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DE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在本例中可以看出name这个key是存在的，删除后就不存在了</a:t>
                      </a:r>
                      <a:r>
                        <a:rPr lang="en-US" altLang="zh-CN"/>
                        <a:t>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2430" y="3303270"/>
            <a:ext cx="5767070" cy="161417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EXPIRE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9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。超过该时间后，Key被自动的删除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值为1表示超时被设置，返回值为0则表示Key不存在，不能被设置为超时。</a:t>
                      </a:r>
                    </a:p>
                    <a:p>
                      <a:pPr algn="l">
                        <a:buNone/>
                      </a:pP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注意：</a:t>
                      </a:r>
                      <a:r>
                        <a:rPr lang="zh-CN" altLang="en-US"/>
                        <a:t>如果key已经存在过期时间，在通过expire设置的时候回覆盖之前过期时间。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在本例中，使用expire命令让cache_page存在一分钟。等待一分钟，一分钟后 cache_page这个key会自动删除，就不存在了。可以使用exists命令查看这个key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en-US" alt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1485" y="3830955"/>
            <a:ext cx="4319905" cy="101409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1485" y="5480050"/>
            <a:ext cx="4320540" cy="57658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T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23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86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927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。该命令以秒为单位返回key的剩余时间，如果该键不存在或没有超时设置，则返回-2</a:t>
                      </a:r>
                    </a:p>
                  </a:txBody>
                  <a:tcPr anchor="ctr"/>
                </a:tc>
              </a:tr>
              <a:tr h="2941955">
                <a:tc gridSpan="2">
                  <a:txBody>
                    <a:bodyPr/>
                    <a:lstStyle/>
                    <a:p>
                      <a:pPr marL="3836670" indent="278765" algn="l">
                        <a:lnSpc>
                          <a:spcPct val="140000"/>
                        </a:lnSpc>
                        <a:buNone/>
                      </a:pPr>
                      <a:r>
                        <a:rPr lang="en-US" altLang="zh-CN"/>
                        <a:t>在本例中，我们设置cache_page2这个key的过期时间是60秒，然后我们不断用ttl来获取这个key的有效时长，直至为-2说明此值以过期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2105" y="3346450"/>
            <a:ext cx="3700145" cy="266763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SELECT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SELECT</a:t>
                      </a:r>
                      <a:endParaRPr lang="en-US" altLang="zh-CN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/>
                        <a:t>   </a:t>
                      </a:r>
                      <a:r>
                        <a:t>在本例中，选择数据库1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360" y="3314700"/>
            <a:ext cx="3814445" cy="50863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MOV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先显示的选择了数据库0，然后在这个库中设置一个key，接下来我们将这个key从数据库0移到数据库1，之后我们在数据库0中确认了没有age这个key了。但在数据库1中存在这个key，说明转移key成功了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1480" y="3214370"/>
            <a:ext cx="3457575" cy="29813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0151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PERSIS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这个例子中，我们手动的移除age这个key的过期时间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4015" y="3248025"/>
            <a:ext cx="3512820" cy="285496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56599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4851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984375" y="2566035"/>
            <a:ext cx="2011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</a:p>
        </p:txBody>
      </p:sp>
      <p:sp>
        <p:nvSpPr>
          <p:cNvPr id="2" name="矩形 1"/>
          <p:cNvSpPr/>
          <p:nvPr/>
        </p:nvSpPr>
        <p:spPr>
          <a:xfrm>
            <a:off x="1984375" y="3518535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ANDOMKEY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通过本例的结果可以看到取key的规则是随机的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2275" y="3434715"/>
            <a:ext cx="3975100" cy="216852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YP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0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651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，该命令将以字符串的格式返回。返回的字符串为string、list、set、hash和zset，如果key不存在返回none</a:t>
                      </a:r>
                    </a:p>
                  </a:txBody>
                  <a:tcPr anchor="ctr"/>
                </a:tc>
              </a:tr>
              <a:tr h="2823210">
                <a:tc gridSpan="2">
                  <a:txBody>
                    <a:bodyPr/>
                    <a:lstStyle/>
                    <a:p>
                      <a:pPr marL="3513455" indent="32321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可以看出TYPE命令可以返回指定key关联值的类型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8620" y="3618865"/>
            <a:ext cx="3270885" cy="24955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00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2385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</a:t>
                      </a:r>
                    </a:p>
                  </a:txBody>
                  <a:tcPr anchor="ctr"/>
                </a:tc>
              </a:tr>
              <a:tr h="23558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308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1181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 smtClean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PING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48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PING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 ，如果服务器运作正常的话，会返回一个 “PONG”字符串 ，用来测试Redis客户端与服务器的连接是否依然生效。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585" y="4028440"/>
            <a:ext cx="4529455" cy="83883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ECHO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ECHO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713480"/>
            <a:ext cx="4263390" cy="561340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QUI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075" y="3604895"/>
            <a:ext cx="3492500" cy="66802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DBSIZ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可以看出当前数据库中有2个k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950" y="3584575"/>
            <a:ext cx="3703955" cy="147891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INFO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32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289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3327400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常见回显字段说明：（</a:t>
                      </a: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篇幅所限，本页仅对常见主要信息进行说明</a:t>
                      </a:r>
                      <a:r>
                        <a:rPr lang="zh-CN" altLang="en-US"/>
                        <a:t>）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# Server</a:t>
                      </a:r>
                      <a:r>
                        <a:rPr lang="en-US" altLang="zh-CN"/>
                        <a:t>            // Redis 的服务器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Clients</a:t>
                      </a:r>
                      <a:r>
                        <a:rPr lang="en-US" altLang="zh-CN"/>
                        <a:t>           </a:t>
                      </a:r>
                      <a:r>
                        <a:rPr lang="en-US" altLang="zh-CN" sz="1800">
                          <a:sym typeface="+mn-ea"/>
                        </a:rPr>
                        <a:t>// </a:t>
                      </a:r>
                      <a:r>
                        <a:rPr lang="en-US" altLang="zh-CN"/>
                        <a:t>已连接客户端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Memory</a:t>
                      </a:r>
                      <a:r>
                        <a:rPr lang="en-US" altLang="zh-CN"/>
                        <a:t>         </a:t>
                      </a:r>
                      <a:r>
                        <a:rPr lang="en-US" altLang="zh-CN" sz="1800">
                          <a:sym typeface="+mn-ea"/>
                        </a:rPr>
                        <a:t>//</a:t>
                      </a:r>
                      <a:r>
                        <a:rPr lang="zh-CN" altLang="en-US"/>
                        <a:t> 内存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Persistence</a:t>
                      </a:r>
                      <a:r>
                        <a:rPr lang="en-US" altLang="zh-CN"/>
                        <a:t>   </a:t>
                      </a:r>
                      <a:r>
                        <a:rPr lang="en-US" altLang="zh-CN" sz="1800">
                          <a:sym typeface="+mn-ea"/>
                        </a:rPr>
                        <a:t>// 持久化的相关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Stats              // 一般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Replication     // 主/从复制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PU               // CPU 计算量的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luster           // Redis 集群信息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7245" y="3190240"/>
            <a:ext cx="2940685" cy="33147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265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1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 Scan 命令用于迭代数据库中的数据库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MONITOR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855470"/>
          <a:ext cx="9226550" cy="4415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019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714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344233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首先使用redis-cli命令打开第一个客户端，输入以下命令。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使用redis-cli命令打开第二个客户端，使用以下命令存储数据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再查看第一个客户端，会看到如下信息，从结果看此Redis服务器目前接收了命令 set 和get命令。</a:t>
                      </a:r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565" y="3282950"/>
            <a:ext cx="2391410" cy="42862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565" y="4127500"/>
            <a:ext cx="2819400" cy="8382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0955" y="5381625"/>
            <a:ext cx="5019675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CONFIG GE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config get命令获取了dir这个参数配置的值。如果想获取全部参数配置的值，可以执行”config get *”,就可以将全部的值都显示出来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1475" y="3563620"/>
            <a:ext cx="3505200" cy="75755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DB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将数据库0中的key都删除了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2270" y="3622675"/>
            <a:ext cx="2342515" cy="150495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ALL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074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99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3467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  <a:tr h="2950210">
                <a:tc gridSpan="2">
                  <a:txBody>
                    <a:bodyPr/>
                    <a:lstStyle/>
                    <a:p>
                      <a:pPr marL="3117215" indent="27876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FLUSHALL 命令清空了所有数据库的key，查看数据库0中的key发现都没清空了，然后切换到数据库1，发现数据库1中的key也被清空了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7345" y="3337560"/>
            <a:ext cx="2926080" cy="256159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483735" y="2518410"/>
            <a:ext cx="2842895" cy="130810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663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2</a:t>
            </a: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1484630" y="2017395"/>
          <a:ext cx="9430385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425"/>
                <a:gridCol w="768096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键值</a:t>
                      </a:r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释义</a:t>
                      </a:r>
                      <a:endParaRPr lang="zh-CN" altLang="en-US"/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。KEYS [pattern]查看匹配模式的键, pattern支持通配符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支持以下通配符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*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任意字符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?  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匹配一个任意字符</a:t>
                      </a:r>
                    </a:p>
                    <a:p>
                      <a:pPr marL="946785" indent="-70167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 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[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]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方括号之间的字符串，比如通配符 [a-z] ,是匹配26个字符中的任意长度字符,通配符 a[b-e]匹配 ab, ac , ad 和 ae字符窜。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\x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 匹配特殊字符, \?, \*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3991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91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4570" y="2216150"/>
            <a:ext cx="5631180" cy="35267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402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402526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        </a:t>
                      </a:r>
                      <a:r>
                        <a:rPr lang="zh-CN" altLang="en-US"/>
                        <a:t>使用 keys * ,得到当前Redis数据库中存在的键名。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8530" y="2289175"/>
            <a:ext cx="5277485" cy="288099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68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78359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9013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Redis Scan 命令用于迭代数据库中的数据库键。SCAN 命令是一个基于游标的迭代器，每次被调用之后， 都会向用户返回一个新的游标， 用户在下次迭代时需要使用这个新游标作为 SCAN 命令的游标参数， 以此来延续之前的迭代过程。</a:t>
                      </a:r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endParaRPr lang="zh-CN" altLang="en-US"/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SCAN 返回一个包含两个元素的数组， 第一个元素是用于进行下一次迭代的新游标， 而第二个元素则是一个数组， 这个数组中包含了所有被迭代的元素。如果新游标返回 0 表示迭代已结束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SCAN命令的基本语法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SCAN cursor [MATCH pattern] [COUNT count]</a:t>
                      </a:r>
                    </a:p>
                    <a:p>
                      <a:pPr marL="564515" indent="-564515" algn="l">
                        <a:lnSpc>
                          <a:spcPct val="150000"/>
                        </a:lnSpc>
                        <a:buNone/>
                      </a:pPr>
                      <a:r>
                        <a:t>SCAN命令的参数</a:t>
                      </a:r>
                      <a:r>
                        <a:rPr lang="zh-CN"/>
                        <a:t>：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ursor : 游标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pattern : 匹配的模式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ount : 指定从数据集里返回多少元素，默认值为 10</a:t>
                      </a: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2"/>
  <p:tag name="TABLE_ENDDRAG_RECT" val="116*156*726*33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1"/>
  <p:tag name="TABLE_ENDDRAG_RECT" val="116*156*726*33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47"/>
  <p:tag name="TABLE_ENDDRAG_RECT" val="116*146*726*3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0"/>
  <p:tag name="TABLE_ENDDRAG_RECT" val="116*156*726*3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055d41b-63b8-4c8c-99e0-a01c9d1ba5a9}"/>
  <p:tag name="TABLE_ENDDRAG_ORIGIN_RECT" val="326*299"/>
  <p:tag name="TABLE_ENDDRAG_RECT" val="144*165*326*2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4"/>
  <p:tag name="TABLE_ENDDRAG_RECT" val="116*156*726*3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6"/>
  <p:tag name="TABLE_ENDDRAG_RECT" val="116*156*726*3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90"/>
  <p:tag name="TABLE_ENDDRAG_RECT" val="116*156*726*29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3</TotalTime>
  <Words>1851</Words>
  <Application>Microsoft Office PowerPoint</Application>
  <PresentationFormat>宽屏</PresentationFormat>
  <Paragraphs>368</Paragraphs>
  <Slides>34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0" baseType="lpstr">
      <vt:lpstr>宋体</vt:lpstr>
      <vt:lpstr>微软雅黑</vt:lpstr>
      <vt:lpstr>Arial</vt:lpstr>
      <vt:lpstr>Calibri</vt:lpstr>
      <vt:lpstr>Times New Roman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64</cp:revision>
  <cp:lastPrinted>2019-04-18T16:00:00Z</cp:lastPrinted>
  <dcterms:created xsi:type="dcterms:W3CDTF">2019-04-18T16:00:00Z</dcterms:created>
  <dcterms:modified xsi:type="dcterms:W3CDTF">2022-03-12T16:4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